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0" r:id="rId1"/>
  </p:sldMasterIdLst>
  <p:notesMasterIdLst>
    <p:notesMasterId r:id="rId3"/>
  </p:notesMasterIdLst>
  <p:handoutMasterIdLst>
    <p:handoutMasterId r:id="rId4"/>
  </p:handoutMasterIdLst>
  <p:sldIdLst>
    <p:sldId id="62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13323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85658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90420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226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05518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7106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6357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474581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28797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4606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677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3261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336793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19565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39A3A98-B4C5-4934-8253-DD3A26C26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39A3A98-B4C5-4934-8253-DD3A26C265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94E5-5D04-4063-8AD0-471CEDB68370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846933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5. August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5007A8-1A25-4E09-82E8-C3C95333F7E0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E48885CA-4140-4FDF-98FC-53233E345EAD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F796C63-B41A-40F4-8525-B4BAF3848CA0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A9C499EF-139A-447B-BBBA-D93905D9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B7D4AB5-94F2-44A8-93FA-445A865A8A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238BAB-39A5-4800-8EC2-814E9E7D6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6FEA042-0995-49D5-A1B1-1D1390AF6BD4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3641B653-220D-4374-B81C-6A90704B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3641B653-220D-4374-B81C-6A90704B45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284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93913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3423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97012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9560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7252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83545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5296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CB5AB11-9B4B-4C14-812B-EC70B6F11494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6065231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1483" y="374135"/>
            <a:ext cx="7833296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Aumente a qualidade do produto</a:t>
            </a:r>
            <a:r>
              <a:rPr lang="en-US" altLang="zh-CN" dirty="0">
                <a:solidFill>
                  <a:srgbClr val="E64B00"/>
                </a:solidFill>
              </a:rPr>
              <a:t> pela limitação da poluição das </a:t>
            </a:r>
            <a:r>
              <a:rPr lang="en-US" altLang="zh-CN" dirty="0" err="1">
                <a:solidFill>
                  <a:srgbClr val="E64B00"/>
                </a:solidFill>
              </a:rPr>
              <a:t>preformas</a:t>
            </a:r>
            <a:endParaRPr lang="pt-BR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31483" y="1705628"/>
            <a:ext cx="7833296" cy="299436"/>
          </a:xfrm>
        </p:spPr>
        <p:txBody>
          <a:bodyPr/>
          <a:lstStyle/>
          <a:p>
            <a:r>
              <a:rPr lang="en-US" altLang="fr-FR" dirty="0"/>
              <a:t>Tampa basculante do depósito de preformas sem sobrepressão</a:t>
            </a:r>
            <a:r>
              <a:rPr dirty="0"/>
              <a:t> </a:t>
            </a:r>
            <a:endParaRPr lang="pt-BR" altLang="zh-CN" dirty="0"/>
          </a:p>
          <a:p>
            <a:endParaRPr lang="pt-B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1"/>
            <a:ext cx="4080096" cy="36785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en-US" altLang="zh-CN" sz="1131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5" y="2471499"/>
            <a:ext cx="4029827" cy="367856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n-US" altLang="zh-CN" sz="1245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1419" y="6198637"/>
            <a:ext cx="7819294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00" b="0" dirty="0">
                <a:solidFill>
                  <a:srgbClr val="000000"/>
                </a:solidFill>
              </a:rPr>
              <a:t>Valor: Qualidade do produto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00" b="0" dirty="0">
                <a:solidFill>
                  <a:srgbClr val="000000"/>
                </a:solidFill>
              </a:rPr>
              <a:t>Equipamento: </a:t>
            </a:r>
            <a:r>
              <a:rPr lang="en-GB" altLang="fr-FR" sz="800" b="0" dirty="0" err="1">
                <a:solidFill>
                  <a:srgbClr val="000000"/>
                </a:solidFill>
              </a:rPr>
              <a:t>sopradoras</a:t>
            </a:r>
            <a:r>
              <a:rPr lang="en-GB" altLang="fr-FR" sz="800" b="0" dirty="0">
                <a:solidFill>
                  <a:srgbClr val="000000"/>
                </a:solidFill>
              </a:rPr>
              <a:t> Universal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00" b="0" dirty="0">
                <a:solidFill>
                  <a:srgbClr val="000000"/>
                </a:solidFill>
              </a:rPr>
              <a:t>Código do catálogo</a:t>
            </a:r>
            <a:r>
              <a:rPr lang="en-GB" altLang="fr-FR" sz="800" b="0">
                <a:solidFill>
                  <a:srgbClr val="000000"/>
                </a:solidFill>
              </a:rPr>
              <a:t>: 1016</a:t>
            </a:r>
            <a:endParaRPr lang="en-GB" altLang="fr-FR" sz="800" b="0" dirty="0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FDF8CE-634F-4A4C-9FA0-CEE5E4D2394C}"/>
              </a:ext>
            </a:extLst>
          </p:cNvPr>
          <p:cNvSpPr/>
          <p:nvPr/>
        </p:nvSpPr>
        <p:spPr>
          <a:xfrm>
            <a:off x="1331483" y="2471499"/>
            <a:ext cx="4073141" cy="16090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indent="-189752" defTabSz="95040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323" b="0" kern="0" dirty="0">
                <a:solidFill>
                  <a:srgbClr val="000000"/>
                </a:solidFill>
                <a:latin typeface="Arial"/>
              </a:rPr>
              <a:t>Produção mais higiênica </a:t>
            </a:r>
            <a:r>
              <a:rPr lang="en-US" altLang="fr-FR" sz="1323" b="0" kern="0" dirty="0">
                <a:solidFill>
                  <a:srgbClr val="000000"/>
                </a:solidFill>
                <a:latin typeface="Arial"/>
              </a:rPr>
              <a:t>pela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limitação da poluição das preformas no depósito.</a:t>
            </a:r>
            <a:endParaRPr lang="pt-BR" altLang="x-none" sz="1323" b="0" kern="0" dirty="0">
              <a:solidFill>
                <a:srgbClr val="000000"/>
              </a:solidFill>
              <a:latin typeface="Arial"/>
            </a:endParaRPr>
          </a:p>
          <a:p>
            <a:pPr marL="189752" indent="-189752" defTabSz="95040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vita que a preforma (recolhida do chão, por exemplo) ou outra coisa vinda de fora da área de alimentação de proformas seja acidental ou propositalmente atirada para dentro do depósito durante a etapa de produção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7FD01D-E3A3-458C-8D3A-88485ECAEAD4}"/>
              </a:ext>
            </a:extLst>
          </p:cNvPr>
          <p:cNvSpPr/>
          <p:nvPr/>
        </p:nvSpPr>
        <p:spPr>
          <a:xfrm>
            <a:off x="5520946" y="2471502"/>
            <a:ext cx="4014366" cy="19245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sta opção tem a função de cobrir a parte superior do depósito de preformas e prevenir a deposição no interior do depósito. </a:t>
            </a:r>
          </a:p>
          <a:p>
            <a:pPr marL="189752" lvl="1" indent="-189752" defTabSz="950409">
              <a:spcBef>
                <a:spcPts val="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É composta por uma tampa e um motor de engrenagens.</a:t>
            </a:r>
          </a:p>
          <a:p>
            <a:pPr marL="189752" lvl="1" indent="-189752" defTabSz="950409">
              <a:spcBef>
                <a:spcPts val="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m modo manual, durante o carregamento de preformas, o operador controla a abertura / fechamento da tampa articulada por meio de uma unidade de controle</a:t>
            </a:r>
            <a:r>
              <a:rPr lang="en-US" altLang="zh-CN" sz="1131" b="0" kern="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pic>
        <p:nvPicPr>
          <p:cNvPr id="13" name="Image 32">
            <a:extLst>
              <a:ext uri="{FF2B5EF4-FFF2-40B4-BE49-F238E27FC236}">
                <a16:creationId xmlns:a16="http://schemas.microsoft.com/office/drawing/2014/main" id="{19637D86-FD6B-4E4D-B57D-D290DC3236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6642" y="4495160"/>
            <a:ext cx="1265078" cy="1569142"/>
          </a:xfrm>
          <a:prstGeom prst="rect">
            <a:avLst/>
          </a:prstGeom>
        </p:spPr>
      </p:pic>
      <p:sp>
        <p:nvSpPr>
          <p:cNvPr id="12" name="Rechteck 3">
            <a:extLst>
              <a:ext uri="{FF2B5EF4-FFF2-40B4-BE49-F238E27FC236}">
                <a16:creationId xmlns:a16="http://schemas.microsoft.com/office/drawing/2014/main" id="{2340E34F-8CB1-4E9A-AD24-8464FF27F6EC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/>
              </a:rPr>
              <a:t>VALOR E VANTAGENS</a:t>
            </a:r>
            <a:endParaRPr lang="pt-BR" sz="1544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4" name="Rechteck 11">
            <a:extLst>
              <a:ext uri="{FF2B5EF4-FFF2-40B4-BE49-F238E27FC236}">
                <a16:creationId xmlns:a16="http://schemas.microsoft.com/office/drawing/2014/main" id="{1C4F32E5-1F56-4BA1-A5BA-008AC841C4CA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DESCRIÇÃO</a:t>
            </a:r>
            <a:endParaRPr lang="pt-B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448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1</Pages>
  <Words>150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Aumente a qualidade do produto pela limitação da poluição das preformas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8</cp:revision>
  <cp:lastPrinted>2016-08-02T08:13:06Z</cp:lastPrinted>
  <dcterms:created xsi:type="dcterms:W3CDTF">2009-07-10T13:59:45Z</dcterms:created>
  <dcterms:modified xsi:type="dcterms:W3CDTF">2020-08-05T11:5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8-05T11:45:47.5022062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4T16:09:23.6890524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4T16:09:23.6990524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